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5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4.xml" ContentType="application/vnd.openxmlformats-officedocument.presentationml.tags+xml"/>
  <Override PartName="/ppt/notesSlides/notesSlide25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9" r:id="rId25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50.xml" Id="rId25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50.xml.rels>&#65279;<?xml version="1.0" encoding="utf-8"?><Relationships xmlns="http://schemas.openxmlformats.org/package/2006/relationships"><Relationship Type="http://schemas.openxmlformats.org/officeDocument/2006/relationships/slide" Target="/ppt/slides/slide250.xml" Id="rId2" /><Relationship Type="http://schemas.openxmlformats.org/officeDocument/2006/relationships/notesMaster" Target="/ppt/notesMasters/notesMaster1.xml" Id="rId1" /></Relationships>
</file>

<file path=ppt/notesSlides/notesSlide2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34086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5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14.xml" Id="rId2" /><Relationship Type="http://schemas.openxmlformats.org/officeDocument/2006/relationships/vmlDrawing" Target="/ppt/drawings/vmlDrawing25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4.bin" Id="rId5" /><Relationship Type="http://schemas.openxmlformats.org/officeDocument/2006/relationships/notesSlide" Target="/ppt/notesSlides/notesSlide250.xml" Id="rId4" /></Relationships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955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Newspaper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1184311-96A8-0C7C-5549-4B27A2209AA0}"/>
              </a:ext>
            </a:extLst>
          </p:cNvPr>
          <p:cNvGrpSpPr>
            <a:grpSpLocks/>
          </p:cNvGrpSpPr>
          <p:nvPr/>
        </p:nvGrpSpPr>
        <p:grpSpPr>
          <a:xfrm>
            <a:off x="2824480" y="1835785"/>
            <a:ext cx="6543040" cy="3992880"/>
            <a:chOff x="2468880" y="1959610"/>
            <a:chExt cx="6543040" cy="3992880"/>
          </a:xfrm>
        </p:grpSpPr>
        <p:sp>
          <p:nvSpPr>
            <p:cNvPr id="2" name="Rechteck 3">
              <a:extLst>
                <a:ext uri="{FF2B5EF4-FFF2-40B4-BE49-F238E27FC236}">
                  <a16:creationId xmlns:a16="http://schemas.microsoft.com/office/drawing/2014/main" id="{3526B309-4C59-594C-F75F-8A696CD35AE3}"/>
                </a:ext>
              </a:extLst>
            </p:cNvPr>
            <p:cNvSpPr>
              <a:spLocks/>
            </p:cNvSpPr>
            <p:nvPr/>
          </p:nvSpPr>
          <p:spPr>
            <a:xfrm>
              <a:off x="2468880" y="1959610"/>
              <a:ext cx="6543040" cy="39928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echteck 9">
              <a:extLst>
                <a:ext uri="{FF2B5EF4-FFF2-40B4-BE49-F238E27FC236}">
                  <a16:creationId xmlns:a16="http://schemas.microsoft.com/office/drawing/2014/main" id="{B1F5C8DB-9540-4E0C-3D08-1DE1201B0581}"/>
                </a:ext>
              </a:extLst>
            </p:cNvPr>
            <p:cNvSpPr>
              <a:spLocks/>
            </p:cNvSpPr>
            <p:nvPr/>
          </p:nvSpPr>
          <p:spPr>
            <a:xfrm>
              <a:off x="2740025" y="2219324"/>
              <a:ext cx="6000750" cy="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hteck 10">
              <a:extLst>
                <a:ext uri="{FF2B5EF4-FFF2-40B4-BE49-F238E27FC236}">
                  <a16:creationId xmlns:a16="http://schemas.microsoft.com/office/drawing/2014/main" id="{CA55669C-164D-27CE-4866-AE4F29D93659}"/>
                </a:ext>
              </a:extLst>
            </p:cNvPr>
            <p:cNvSpPr>
              <a:spLocks/>
            </p:cNvSpPr>
            <p:nvPr/>
          </p:nvSpPr>
          <p:spPr>
            <a:xfrm>
              <a:off x="2740025" y="2973752"/>
              <a:ext cx="6000750" cy="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feld 11">
              <a:extLst>
                <a:ext uri="{FF2B5EF4-FFF2-40B4-BE49-F238E27FC236}">
                  <a16:creationId xmlns:a16="http://schemas.microsoft.com/office/drawing/2014/main" id="{F999111A-898A-B150-88BB-91AFB10E5EE5}"/>
                </a:ext>
              </a:extLst>
            </p:cNvPr>
            <p:cNvSpPr txBox="1">
              <a:spLocks/>
            </p:cNvSpPr>
            <p:nvPr/>
          </p:nvSpPr>
          <p:spPr>
            <a:xfrm>
              <a:off x="3692500" y="2247818"/>
              <a:ext cx="4095801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 spc="300">
                  <a:solidFill>
                    <a:schemeClr val="accent6"/>
                  </a:solidFill>
                </a:rPr>
                <a:t>NEWSPAPER</a:t>
              </a:r>
            </a:p>
          </p:txBody>
        </p:sp>
        <p:grpSp>
          <p:nvGrpSpPr>
            <p:cNvPr id="7" name="Gruppieren 21">
              <a:extLst>
                <a:ext uri="{FF2B5EF4-FFF2-40B4-BE49-F238E27FC236}">
                  <a16:creationId xmlns:a16="http://schemas.microsoft.com/office/drawing/2014/main" id="{0F33A4B0-9F92-9060-301F-521AABF2BB53}"/>
                </a:ext>
              </a:extLst>
            </p:cNvPr>
            <p:cNvGrpSpPr>
              <a:grpSpLocks/>
            </p:cNvGrpSpPr>
            <p:nvPr/>
          </p:nvGrpSpPr>
          <p:grpSpPr>
            <a:xfrm>
              <a:off x="2755696" y="3165993"/>
              <a:ext cx="3893388" cy="2546075"/>
              <a:chOff x="4847385" y="3165993"/>
              <a:chExt cx="3893388" cy="2546075"/>
            </a:xfrm>
          </p:grpSpPr>
          <p:sp>
            <p:nvSpPr>
              <p:cNvPr id="9" name="Textplatzhalter 9">
                <a:extLst>
                  <a:ext uri="{FF2B5EF4-FFF2-40B4-BE49-F238E27FC236}">
                    <a16:creationId xmlns:a16="http://schemas.microsoft.com/office/drawing/2014/main" id="{D7E38A4D-292C-78C8-6382-7183465CCF6F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847385" y="3165993"/>
                <a:ext cx="3893388" cy="615553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None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1pPr>
                <a:lvl2pPr marL="180975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2pPr>
                <a:lvl3pPr marL="36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3pPr>
                <a:lvl4pPr marL="541338" indent="-179388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tabLst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4pPr>
                <a:lvl5pPr marL="720000" indent="-180975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Futura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1200"/>
                  </a:spcAft>
                  <a:buClr>
                    <a:srgbClr val="000000"/>
                  </a:buClr>
                </a:pPr>
                <a:r>
                  <a:rPr lang="en-US" sz="2000">
                    <a:solidFill>
                      <a:schemeClr val="accent6"/>
                    </a:solidFill>
                  </a:rPr>
                  <a:t>Lorem ipsum dolor sit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amet</a:t>
                </a:r>
                <a:r>
                  <a:rPr lang="en-US" sz="2000">
                    <a:solidFill>
                      <a:schemeClr val="accent6"/>
                    </a:solidFill>
                  </a:rPr>
                  <a:t>,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consetetur</a:t>
                </a:r>
                <a:r>
                  <a:rPr lang="en-US" sz="2000">
                    <a:solidFill>
                      <a:schemeClr val="accent6"/>
                    </a:solidFill>
                  </a:rPr>
                  <a:t>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sadipscing</a:t>
                </a:r>
                <a:r>
                  <a:rPr lang="en-US" sz="2000">
                    <a:solidFill>
                      <a:schemeClr val="accent6"/>
                    </a:solidFill>
                  </a:rPr>
                  <a:t> </a:t>
                </a:r>
                <a:r>
                  <a:rPr lang="en-US" sz="2000" err="1">
                    <a:solidFill>
                      <a:schemeClr val="accent6"/>
                    </a:solidFill>
                  </a:rPr>
                  <a:t>elitr</a:t>
                </a:r>
                <a:endParaRPr lang="en-US" sz="200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1" name="Rechteck 20">
                <a:extLst>
                  <a:ext uri="{FF2B5EF4-FFF2-40B4-BE49-F238E27FC236}">
                    <a16:creationId xmlns:a16="http://schemas.microsoft.com/office/drawing/2014/main" id="{C9A6CB5C-A2F4-E162-B121-2BA2350B9D9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47385" y="3997827"/>
                <a:ext cx="3893388" cy="171424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cap="all" spc="100">
                    <a:solidFill>
                      <a:schemeClr val="accent5"/>
                    </a:solidFill>
                  </a:rPr>
                  <a:t>IMAGE</a:t>
                </a:r>
              </a:p>
            </p:txBody>
          </p:sp>
        </p:grpSp>
        <p:cxnSp>
          <p:nvCxnSpPr>
            <p:cNvPr id="12" name="Gerader Verbinder 19">
              <a:extLst>
                <a:ext uri="{FF2B5EF4-FFF2-40B4-BE49-F238E27FC236}">
                  <a16:creationId xmlns:a16="http://schemas.microsoft.com/office/drawing/2014/main" id="{E40709A6-F89D-2A12-EFC5-9A8E0014BE0A}"/>
                </a:ext>
              </a:extLst>
            </p:cNvPr>
            <p:cNvCxnSpPr>
              <a:cxnSpLocks/>
            </p:cNvCxnSpPr>
            <p:nvPr/>
          </p:nvCxnSpPr>
          <p:spPr>
            <a:xfrm>
              <a:off x="6786245" y="3228172"/>
              <a:ext cx="0" cy="2483896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platzhalter 9">
              <a:extLst>
                <a:ext uri="{FF2B5EF4-FFF2-40B4-BE49-F238E27FC236}">
                  <a16:creationId xmlns:a16="http://schemas.microsoft.com/office/drawing/2014/main" id="{35169B51-9E88-9E1B-F934-C766E10F855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923405" y="3228172"/>
              <a:ext cx="1817370" cy="2308324"/>
            </a:xfrm>
            <a:prstGeom prst="rect">
              <a:avLst/>
            </a:prstGeom>
            <a:noFill/>
            <a:ln w="6350"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1pPr>
              <a:lvl2pPr marL="180975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3pPr>
              <a:lvl4pPr marL="541338" indent="-179388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tabLst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Futura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</a:pPr>
              <a:r>
                <a:rPr lang="en-US" sz="1400" b="1">
                  <a:solidFill>
                    <a:schemeClr val="accent1"/>
                  </a:solidFill>
                </a:rPr>
                <a:t>Sed diam </a:t>
              </a:r>
              <a:r>
                <a:rPr lang="en-US" sz="1400" b="1" err="1">
                  <a:solidFill>
                    <a:schemeClr val="accent1"/>
                  </a:solidFill>
                </a:rPr>
                <a:t>nonumy</a:t>
              </a:r>
              <a:r>
                <a:rPr lang="en-US" sz="1400" b="1">
                  <a:solidFill>
                    <a:schemeClr val="accent1"/>
                  </a:solidFill>
                </a:rPr>
                <a:t> </a:t>
              </a:r>
              <a:r>
                <a:rPr lang="en-US" sz="1400" b="1" err="1">
                  <a:solidFill>
                    <a:schemeClr val="accent1"/>
                  </a:solidFill>
                </a:rPr>
                <a:t>eirmod</a:t>
              </a:r>
              <a:r>
                <a:rPr lang="en-US" sz="1400" b="1">
                  <a:solidFill>
                    <a:schemeClr val="accent1"/>
                  </a:solidFill>
                </a:rPr>
                <a:t> 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</a:pPr>
              <a:r>
                <a:rPr lang="en-US" sz="1400" err="1"/>
                <a:t>Tempor</a:t>
              </a:r>
              <a:r>
                <a:rPr lang="en-US" sz="1400"/>
                <a:t> </a:t>
              </a:r>
              <a:r>
                <a:rPr lang="en-US" sz="1400" err="1"/>
                <a:t>invidunt</a:t>
              </a:r>
              <a:r>
                <a:rPr lang="en-US" sz="1400"/>
                <a:t> </a:t>
              </a:r>
              <a:r>
                <a:rPr lang="en-US" sz="1400" err="1"/>
                <a:t>ut</a:t>
              </a:r>
              <a:r>
                <a:rPr lang="en-US" sz="1400"/>
                <a:t> labore et dolore magna </a:t>
              </a:r>
              <a:r>
                <a:rPr lang="en-US" sz="1400" err="1"/>
                <a:t>aliquyam</a:t>
              </a:r>
              <a:r>
                <a:rPr lang="en-US" sz="1400"/>
                <a:t>.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</a:pPr>
              <a:r>
                <a:rPr lang="en-US" sz="1400"/>
                <a:t>Lorem ipsum dolor sit </a:t>
              </a:r>
              <a:r>
                <a:rPr lang="en-US" sz="1400" err="1"/>
                <a:t>amet</a:t>
              </a:r>
              <a:r>
                <a:rPr lang="en-US" sz="1400"/>
                <a:t>, </a:t>
              </a:r>
              <a:r>
                <a:rPr lang="en-US" sz="1400" err="1"/>
                <a:t>consetetur</a:t>
              </a:r>
              <a:r>
                <a:rPr lang="en-US" sz="1400"/>
                <a:t> </a:t>
              </a:r>
              <a:r>
                <a:rPr lang="en-US" sz="1400" err="1"/>
                <a:t>sadipscing</a:t>
              </a:r>
              <a:r>
                <a:rPr lang="en-US" sz="1400"/>
                <a:t> </a:t>
              </a:r>
              <a:r>
                <a:rPr lang="en-US" sz="1400" err="1"/>
                <a:t>elitr</a:t>
              </a:r>
              <a:r>
                <a:rPr lang="en-US" sz="1400"/>
                <a:t>, sed diam </a:t>
              </a:r>
              <a:r>
                <a:rPr lang="en-US" sz="1400" err="1"/>
                <a:t>nonumy</a:t>
              </a:r>
              <a:r>
                <a:rPr lang="en-US" sz="1400"/>
                <a:t> </a:t>
              </a:r>
              <a:r>
                <a:rPr lang="en-US" sz="1400" err="1"/>
                <a:t>eirmod</a:t>
              </a:r>
              <a:r>
                <a:rPr lang="en-US" sz="1400"/>
                <a:t> </a:t>
              </a:r>
              <a:r>
                <a:rPr lang="en-US" sz="1400" err="1"/>
                <a:t>tempor</a:t>
              </a:r>
              <a:r>
                <a:rPr lang="en-US" sz="1400"/>
                <a:t> </a:t>
              </a:r>
              <a:r>
                <a:rPr lang="en-US" sz="1400" err="1"/>
                <a:t>invidunt</a:t>
              </a:r>
              <a:endParaRPr lang="en-US" sz="1000">
                <a:solidFill>
                  <a:schemeClr val="accent1"/>
                </a:solidFill>
              </a:endParaRPr>
            </a:p>
          </p:txBody>
        </p:sp>
      </p:grp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F75500E-11CB-9E4F-22C4-B0ADC57C06F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8506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news, announcement, announcements, headline, headlines</a:t>
            </a:r>
          </a:p>
        </p:txBody>
      </p:sp>
    </p:spTree>
    <p:extLst>
      <p:ext uri="{BB962C8B-B14F-4D97-AF65-F5344CB8AC3E}">
        <p14:creationId xmlns:p14="http://schemas.microsoft.com/office/powerpoint/2010/main" val="3003645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